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2" r:id="rId1"/>
  </p:sldMasterIdLst>
  <p:notesMasterIdLst>
    <p:notesMasterId r:id="rId27"/>
  </p:notesMasterIdLst>
  <p:handoutMasterIdLst>
    <p:handoutMasterId r:id="rId28"/>
  </p:handoutMasterIdLst>
  <p:sldIdLst>
    <p:sldId id="292" r:id="rId2"/>
    <p:sldId id="295" r:id="rId3"/>
    <p:sldId id="261" r:id="rId4"/>
    <p:sldId id="296" r:id="rId5"/>
    <p:sldId id="298" r:id="rId6"/>
    <p:sldId id="299" r:id="rId7"/>
    <p:sldId id="300" r:id="rId8"/>
    <p:sldId id="297" r:id="rId9"/>
    <p:sldId id="262" r:id="rId10"/>
    <p:sldId id="304" r:id="rId11"/>
    <p:sldId id="305" r:id="rId12"/>
    <p:sldId id="306" r:id="rId13"/>
    <p:sldId id="307" r:id="rId14"/>
    <p:sldId id="308" r:id="rId15"/>
    <p:sldId id="302" r:id="rId16"/>
    <p:sldId id="310" r:id="rId17"/>
    <p:sldId id="311" r:id="rId18"/>
    <p:sldId id="312" r:id="rId19"/>
    <p:sldId id="313" r:id="rId20"/>
    <p:sldId id="314" r:id="rId21"/>
    <p:sldId id="315" r:id="rId22"/>
    <p:sldId id="317" r:id="rId23"/>
    <p:sldId id="309" r:id="rId24"/>
    <p:sldId id="318" r:id="rId25"/>
    <p:sldId id="279" r:id="rId26"/>
  </p:sldIdLst>
  <p:sldSz cx="9144000" cy="6858000" type="screen4x3"/>
  <p:notesSz cx="6858000" cy="9144000"/>
  <p:custDataLst>
    <p:tags r:id="rId2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1" orient="horz" pos="2160">
          <p15:clr>
            <a:srgbClr val="A4A3A4"/>
          </p15:clr>
        </p15:guide>
        <p15:guide id="1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424242"/>
    <a:srgbClr val="84848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738" autoAdjust="0"/>
    <p:restoredTop sz="96412" autoAdjust="0"/>
  </p:normalViewPr>
  <p:slideViewPr>
    <p:cSldViewPr snapToGrid="0" showGuides="1">
      <p:cViewPr varScale="1">
        <p:scale>
          <a:sx n="108" d="100"/>
          <a:sy n="108" d="100"/>
        </p:scale>
        <p:origin x="1872" y="192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85" d="100"/>
          <a:sy n="85" d="100"/>
        </p:scale>
        <p:origin x="2340" y="102"/>
      </p:cViewPr>
      <p:guideLst>
        <p:guide orient="horz" pos="2880"/>
        <p:guide pos="216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7383D55-1D8E-47F0-8407-8CF902454C52}" type="datetimeFigureOut">
              <a:rPr lang="en-US" smtClean="0"/>
              <a:t>7/31/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0D73952-53CB-4D8F-B858-71DE4FE97A3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10925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C5454E-9E81-4C99-A91B-42C07507225A}" type="datetimeFigureOut">
              <a:rPr lang="en-US" smtClean="0"/>
              <a:t>7/31/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A537934-768C-4C37-BAD1-E522F3AEBAF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59758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765577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984091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815765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853905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685910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665137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12708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564072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345737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809543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93321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194248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324780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324523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281501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322785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008000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54688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38323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2994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89773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31880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782171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727321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42096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e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EX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0CB85C65-E012-498F-A0A2-9D49524AB7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371772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 bwMode="gray">
          <a:xfrm>
            <a:off x="1" y="2"/>
            <a:ext cx="4773613" cy="6376987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40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38493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/>
          <p:cNvSpPr/>
          <p:nvPr/>
        </p:nvSpPr>
        <p:spPr bwMode="gray">
          <a:xfrm>
            <a:off x="0" y="3483864"/>
            <a:ext cx="9144000" cy="2386584"/>
          </a:xfrm>
          <a:prstGeom prst="rect">
            <a:avLst/>
          </a:prstGeom>
          <a:solidFill>
            <a:srgbClr val="424242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344" y="5138928"/>
            <a:ext cx="8211312" cy="621243"/>
          </a:xfrm>
        </p:spPr>
        <p:txBody>
          <a:bodyPr vert="horz" lIns="0" tIns="0" rIns="0" bIns="0" rtlCol="0">
            <a:noAutofit/>
          </a:bodyPr>
          <a:lstStyle>
            <a:lvl1pPr marL="342900" indent="-342900">
              <a:buFont typeface="Arial" pitchFamily="34" charset="0"/>
              <a:buNone/>
              <a:defRPr lang="en-US" sz="2100" dirty="0">
                <a:solidFill>
                  <a:schemeClr val="bg1"/>
                </a:solidFill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6344" y="457200"/>
            <a:ext cx="3355848" cy="22479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66344" y="3483864"/>
            <a:ext cx="8211312" cy="1472184"/>
          </a:xfrm>
        </p:spPr>
        <p:txBody>
          <a:bodyPr anchor="b" anchorCtr="0">
            <a:noAutofit/>
          </a:bodyPr>
          <a:lstStyle>
            <a:lvl1pPr>
              <a:defRPr sz="4000" b="0">
                <a:solidFill>
                  <a:srgbClr val="5EAEE0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468693" cy="2088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Box 11" descr="CONFIDENTIAL_TAG_0xFFEE">
            <a:extLst>
              <a:ext uri="{FF2B5EF4-FFF2-40B4-BE49-F238E27FC236}">
                <a16:creationId xmlns:a16="http://schemas.microsoft.com/office/drawing/2014/main" id="{DDDFCC63-7F7E-4941-8A8C-42A20F027FF9}"/>
              </a:ext>
            </a:extLst>
          </p:cNvPr>
          <p:cNvSpPr txBox="1"/>
          <p:nvPr userDrawn="1"/>
        </p:nvSpPr>
        <p:spPr>
          <a:xfrm>
            <a:off x="3291949" y="6539170"/>
            <a:ext cx="2558518" cy="177799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7DE8F052-DE5F-42CC-BE6B-8CEC5767035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69848" y="414338"/>
            <a:ext cx="2505831" cy="9144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BFEE2BE-FE3E-4787-9764-7D26413A08B8}"/>
              </a:ext>
            </a:extLst>
          </p:cNvPr>
          <p:cNvSpPr txBox="1"/>
          <p:nvPr userDrawn="1"/>
        </p:nvSpPr>
        <p:spPr>
          <a:xfrm>
            <a:off x="714394" y="6444351"/>
            <a:ext cx="470810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/>
              <a:t>This material is based upon work supported by NSF’s National Ecological Observatory Network which is a major facility fully funded by the National Science Foundation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8A01D69-D1B5-0845-B6DA-81B0A16CF810}"/>
              </a:ext>
            </a:extLst>
          </p:cNvPr>
          <p:cNvSpPr/>
          <p:nvPr userDrawn="1"/>
        </p:nvSpPr>
        <p:spPr bwMode="auto">
          <a:xfrm>
            <a:off x="7616142" y="6452653"/>
            <a:ext cx="1527858" cy="347472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1674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6344" y="1481328"/>
            <a:ext cx="3950208" cy="338328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6344" y="1892808"/>
            <a:ext cx="3950208" cy="4206240"/>
          </a:xfrm>
        </p:spPr>
        <p:txBody>
          <a:bodyPr>
            <a:no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27448" y="1481328"/>
            <a:ext cx="3950208" cy="338328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tit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27448" y="1892808"/>
            <a:ext cx="3950208" cy="4206240"/>
          </a:xfrm>
        </p:spPr>
        <p:txBody>
          <a:bodyPr>
            <a:no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6130503" y="6510528"/>
            <a:ext cx="1120689" cy="208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466344" y="6510528"/>
            <a:ext cx="468693" cy="2088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991597" y="6510528"/>
            <a:ext cx="2245379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pPr algn="l"/>
            <a:endParaRPr lang="en-US" dirty="0"/>
          </a:p>
        </p:txBody>
      </p:sp>
      <p:sp>
        <p:nvSpPr>
          <p:cNvPr id="13" name="TextBox 12" descr="CONFIDENTIAL_TAG_0xFFEE">
            <a:extLst>
              <a:ext uri="{FF2B5EF4-FFF2-40B4-BE49-F238E27FC236}">
                <a16:creationId xmlns:a16="http://schemas.microsoft.com/office/drawing/2014/main" id="{03B7912C-488D-4E6C-ABA3-1A52725E7BCB}"/>
              </a:ext>
            </a:extLst>
          </p:cNvPr>
          <p:cNvSpPr txBox="1"/>
          <p:nvPr userDrawn="1"/>
        </p:nvSpPr>
        <p:spPr>
          <a:xfrm>
            <a:off x="3291949" y="6539170"/>
            <a:ext cx="2558518" cy="177799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61962239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6344" y="1481328"/>
            <a:ext cx="3950208" cy="373895"/>
          </a:xfrm>
        </p:spPr>
        <p:txBody>
          <a:bodyPr anchor="t" anchorCtr="0">
            <a:noAutofit/>
          </a:bodyPr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6344" y="1901952"/>
            <a:ext cx="3950208" cy="466736"/>
          </a:xfrm>
        </p:spPr>
        <p:txBody>
          <a:bodyPr anchor="t" anchorCtr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27448" y="1481328"/>
            <a:ext cx="3950208" cy="373895"/>
          </a:xfrm>
        </p:spPr>
        <p:txBody>
          <a:bodyPr anchor="t" anchorCtr="0">
            <a:noAutofit/>
          </a:bodyPr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27448" y="1901952"/>
            <a:ext cx="3950208" cy="466736"/>
          </a:xfrm>
        </p:spPr>
        <p:txBody>
          <a:bodyPr anchor="t" anchorCtr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Chart Placeholder 12"/>
          <p:cNvSpPr>
            <a:spLocks noGrp="1"/>
          </p:cNvSpPr>
          <p:nvPr>
            <p:ph type="chart" sz="quarter" idx="13"/>
          </p:nvPr>
        </p:nvSpPr>
        <p:spPr>
          <a:xfrm>
            <a:off x="466344" y="2377440"/>
            <a:ext cx="3950208" cy="3703320"/>
          </a:xfrm>
        </p:spPr>
        <p:txBody>
          <a:bodyPr anchor="t" anchorCtr="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chart</a:t>
            </a:r>
          </a:p>
        </p:txBody>
      </p:sp>
      <p:sp>
        <p:nvSpPr>
          <p:cNvPr id="15" name="Chart Placeholder 14"/>
          <p:cNvSpPr>
            <a:spLocks noGrp="1"/>
          </p:cNvSpPr>
          <p:nvPr>
            <p:ph type="chart" sz="quarter" idx="14"/>
          </p:nvPr>
        </p:nvSpPr>
        <p:spPr>
          <a:xfrm>
            <a:off x="4727448" y="2377440"/>
            <a:ext cx="3950208" cy="3703320"/>
          </a:xfrm>
        </p:spPr>
        <p:txBody>
          <a:bodyPr anchor="t" anchorCtr="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chart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5"/>
          </p:nvPr>
        </p:nvSpPr>
        <p:spPr>
          <a:xfrm>
            <a:off x="6130503" y="6510528"/>
            <a:ext cx="1120689" cy="208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466344" y="6510528"/>
            <a:ext cx="468693" cy="2088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991597" y="6510528"/>
            <a:ext cx="2245379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pPr algn="l"/>
            <a:endParaRPr lang="en-US" dirty="0"/>
          </a:p>
        </p:txBody>
      </p:sp>
      <p:sp>
        <p:nvSpPr>
          <p:cNvPr id="17" name="TextBox 16" descr="CONFIDENTIAL_TAG_0xFFEE">
            <a:extLst>
              <a:ext uri="{FF2B5EF4-FFF2-40B4-BE49-F238E27FC236}">
                <a16:creationId xmlns:a16="http://schemas.microsoft.com/office/drawing/2014/main" id="{1DD5A7F1-DFF9-44C9-8CCA-8B18E822C513}"/>
              </a:ext>
            </a:extLst>
          </p:cNvPr>
          <p:cNvSpPr txBox="1"/>
          <p:nvPr userDrawn="1"/>
        </p:nvSpPr>
        <p:spPr>
          <a:xfrm>
            <a:off x="3291949" y="6539170"/>
            <a:ext cx="2558518" cy="177799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76524078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6130503" y="6510528"/>
            <a:ext cx="1120689" cy="208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468693" cy="2088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91597" y="6510528"/>
            <a:ext cx="2245379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pPr algn="l"/>
            <a:endParaRPr lang="en-US" dirty="0"/>
          </a:p>
        </p:txBody>
      </p:sp>
      <p:sp>
        <p:nvSpPr>
          <p:cNvPr id="9" name="TextBox 8" descr="CONFIDENTIAL_TAG_0xFFEE">
            <a:extLst>
              <a:ext uri="{FF2B5EF4-FFF2-40B4-BE49-F238E27FC236}">
                <a16:creationId xmlns:a16="http://schemas.microsoft.com/office/drawing/2014/main" id="{A9ACED41-13CA-4365-98B6-7887E86C8FA0}"/>
              </a:ext>
            </a:extLst>
          </p:cNvPr>
          <p:cNvSpPr txBox="1"/>
          <p:nvPr userDrawn="1"/>
        </p:nvSpPr>
        <p:spPr>
          <a:xfrm>
            <a:off x="3291949" y="6539170"/>
            <a:ext cx="2558518" cy="177799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48941106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>
          <a:xfrm>
            <a:off x="6130503" y="6510528"/>
            <a:ext cx="1120689" cy="208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468693" cy="2088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91597" y="6510528"/>
            <a:ext cx="2245379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pPr algn="l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4372254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losing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 userDrawn="1"/>
        </p:nvSpPr>
        <p:spPr bwMode="white">
          <a:xfrm>
            <a:off x="0" y="3429000"/>
            <a:ext cx="9144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Rectangle 28"/>
          <p:cNvSpPr/>
          <p:nvPr userDrawn="1"/>
        </p:nvSpPr>
        <p:spPr bwMode="white">
          <a:xfrm>
            <a:off x="0" y="3429000"/>
            <a:ext cx="9144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0D6E1A6-289A-4980-96F9-EDEE92E5F7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9144000" cy="5905374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BC7AAD5A-5DB7-4AFB-8302-F3EBAF31F90C}"/>
              </a:ext>
            </a:extLst>
          </p:cNvPr>
          <p:cNvSpPr/>
          <p:nvPr userDrawn="1"/>
        </p:nvSpPr>
        <p:spPr bwMode="white">
          <a:xfrm>
            <a:off x="-1" y="3429000"/>
            <a:ext cx="9144001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16C7464-DCDF-4A68-BEEC-1A51C0EF5294}"/>
              </a:ext>
            </a:extLst>
          </p:cNvPr>
          <p:cNvSpPr/>
          <p:nvPr userDrawn="1"/>
        </p:nvSpPr>
        <p:spPr bwMode="gray">
          <a:xfrm>
            <a:off x="1" y="3246120"/>
            <a:ext cx="9144000" cy="365760"/>
          </a:xfrm>
          <a:prstGeom prst="rect">
            <a:avLst/>
          </a:prstGeom>
          <a:solidFill>
            <a:srgbClr val="00428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4BC90C9-8FEF-495A-A7C5-222769AD685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1851" y="3996133"/>
            <a:ext cx="5291222" cy="1928576"/>
          </a:xfrm>
          <a:prstGeom prst="rect">
            <a:avLst/>
          </a:prstGeom>
        </p:spPr>
      </p:pic>
      <p:sp>
        <p:nvSpPr>
          <p:cNvPr id="33" name="TextBox 32"/>
          <p:cNvSpPr txBox="1"/>
          <p:nvPr userDrawn="1"/>
        </p:nvSpPr>
        <p:spPr>
          <a:xfrm>
            <a:off x="1159271" y="6225331"/>
            <a:ext cx="6825459" cy="332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560" b="1" dirty="0">
                <a:solidFill>
                  <a:schemeClr val="tx2"/>
                </a:solidFill>
              </a:rPr>
              <a:t>720.746.4844  |  neonscience@battelleecology.org</a:t>
            </a:r>
            <a:r>
              <a:rPr lang="en-US" sz="1560" b="1" baseline="0" dirty="0">
                <a:solidFill>
                  <a:schemeClr val="tx2"/>
                </a:solidFill>
              </a:rPr>
              <a:t>   |  neonscience.org</a:t>
            </a:r>
            <a:endParaRPr lang="en-US" sz="156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3773083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without Image and with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 userDrawn="1"/>
        </p:nvSpPr>
        <p:spPr bwMode="gray">
          <a:xfrm>
            <a:off x="0" y="0"/>
            <a:ext cx="9144000" cy="53828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Rectangle 26"/>
          <p:cNvSpPr/>
          <p:nvPr userDrawn="1"/>
        </p:nvSpPr>
        <p:spPr bwMode="white">
          <a:xfrm flipV="1">
            <a:off x="0" y="5963439"/>
            <a:ext cx="9144000" cy="7929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Rectangle 27"/>
          <p:cNvSpPr/>
          <p:nvPr userDrawn="1"/>
        </p:nvSpPr>
        <p:spPr bwMode="gray">
          <a:xfrm>
            <a:off x="0" y="5243656"/>
            <a:ext cx="9144000" cy="4784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Rectangle 28"/>
          <p:cNvSpPr/>
          <p:nvPr userDrawn="1"/>
        </p:nvSpPr>
        <p:spPr bwMode="gray">
          <a:xfrm>
            <a:off x="0" y="5538524"/>
            <a:ext cx="9144000" cy="363532"/>
          </a:xfrm>
          <a:prstGeom prst="rect">
            <a:avLst/>
          </a:prstGeom>
          <a:solidFill>
            <a:srgbClr val="141414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sp>
        <p:nvSpPr>
          <p:cNvPr id="31" name="TextBox 30"/>
          <p:cNvSpPr txBox="1"/>
          <p:nvPr userDrawn="1"/>
        </p:nvSpPr>
        <p:spPr>
          <a:xfrm>
            <a:off x="1159271" y="6225331"/>
            <a:ext cx="6825459" cy="332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560" b="1" dirty="0">
                <a:solidFill>
                  <a:schemeClr val="tx2"/>
                </a:solidFill>
              </a:rPr>
              <a:t>720.746.4844  |  neonscience@battelleecology.org</a:t>
            </a:r>
            <a:r>
              <a:rPr lang="en-US" sz="1560" b="1" baseline="0" dirty="0">
                <a:solidFill>
                  <a:schemeClr val="tx2"/>
                </a:solidFill>
              </a:rPr>
              <a:t>   |  neonscience.org</a:t>
            </a:r>
            <a:endParaRPr lang="en-US" sz="1560" b="1" dirty="0">
              <a:solidFill>
                <a:schemeClr val="tx2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7AE2B09-0669-485C-A319-2203CB3C71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04733" y="1693333"/>
            <a:ext cx="3020220" cy="1737360"/>
          </a:xfrm>
          <a:prstGeom prst="rect">
            <a:avLst/>
          </a:prstGeom>
        </p:spPr>
      </p:pic>
      <p:pic>
        <p:nvPicPr>
          <p:cNvPr id="5" name="Picture 4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33E3B780-F730-4D7E-A05B-F9992D817D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54794" y="1654721"/>
            <a:ext cx="1916073" cy="182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1727557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536D9C1B-AF9E-4693-BF10-277D6A6C93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371772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 bwMode="gray">
          <a:xfrm>
            <a:off x="1" y="2"/>
            <a:ext cx="4773613" cy="6376987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40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90437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/>
          <p:cNvSpPr/>
          <p:nvPr/>
        </p:nvSpPr>
        <p:spPr bwMode="gray">
          <a:xfrm>
            <a:off x="0" y="3483864"/>
            <a:ext cx="9144000" cy="2386584"/>
          </a:xfrm>
          <a:prstGeom prst="rect">
            <a:avLst/>
          </a:prstGeom>
          <a:solidFill>
            <a:srgbClr val="424242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344" y="5138928"/>
            <a:ext cx="8211312" cy="621243"/>
          </a:xfrm>
        </p:spPr>
        <p:txBody>
          <a:bodyPr vert="horz" lIns="0" tIns="0" rIns="0" bIns="0" rtlCol="0">
            <a:noAutofit/>
          </a:bodyPr>
          <a:lstStyle>
            <a:lvl1pPr marL="342900" indent="-342900">
              <a:buFont typeface="Arial" pitchFamily="34" charset="0"/>
              <a:buNone/>
              <a:defRPr lang="en-US" sz="2100" dirty="0">
                <a:solidFill>
                  <a:schemeClr val="bg1"/>
                </a:solidFill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6344" y="457200"/>
            <a:ext cx="3355848" cy="22479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66344" y="3483864"/>
            <a:ext cx="8211312" cy="1472184"/>
          </a:xfrm>
        </p:spPr>
        <p:txBody>
          <a:bodyPr anchor="b" anchorCtr="0">
            <a:noAutofit/>
          </a:bodyPr>
          <a:lstStyle>
            <a:lvl1pPr>
              <a:defRPr sz="4000" b="0">
                <a:solidFill>
                  <a:srgbClr val="5EAEE0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468693" cy="2088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Box 11" descr="CONFIDENTIAL_TAG_0xFFEE">
            <a:extLst>
              <a:ext uri="{FF2B5EF4-FFF2-40B4-BE49-F238E27FC236}">
                <a16:creationId xmlns:a16="http://schemas.microsoft.com/office/drawing/2014/main" id="{DDDFCC63-7F7E-4941-8A8C-42A20F027FF9}"/>
              </a:ext>
            </a:extLst>
          </p:cNvPr>
          <p:cNvSpPr txBox="1"/>
          <p:nvPr userDrawn="1"/>
        </p:nvSpPr>
        <p:spPr>
          <a:xfrm>
            <a:off x="3291949" y="6539170"/>
            <a:ext cx="2558518" cy="177799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D7516D27-9253-47A2-BC58-9DCFA4524B7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69848" y="414338"/>
            <a:ext cx="2505831" cy="9144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175230DA-EBB3-3A47-A4B7-C2E1331C57F2}"/>
              </a:ext>
            </a:extLst>
          </p:cNvPr>
          <p:cNvSpPr/>
          <p:nvPr userDrawn="1"/>
        </p:nvSpPr>
        <p:spPr bwMode="auto">
          <a:xfrm>
            <a:off x="7616142" y="6452653"/>
            <a:ext cx="1527858" cy="347472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9693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/>
          <p:cNvSpPr/>
          <p:nvPr userDrawn="1"/>
        </p:nvSpPr>
        <p:spPr bwMode="gray">
          <a:xfrm>
            <a:off x="0" y="-1"/>
            <a:ext cx="9144000" cy="60724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Rectangle 24"/>
          <p:cNvSpPr/>
          <p:nvPr userDrawn="1"/>
        </p:nvSpPr>
        <p:spPr bwMode="gray">
          <a:xfrm>
            <a:off x="0" y="5918944"/>
            <a:ext cx="9144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Rectangle 25"/>
          <p:cNvSpPr/>
          <p:nvPr userDrawn="1"/>
        </p:nvSpPr>
        <p:spPr bwMode="gray">
          <a:xfrm>
            <a:off x="0" y="5717788"/>
            <a:ext cx="9144000" cy="4784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Rectangle 26"/>
          <p:cNvSpPr/>
          <p:nvPr userDrawn="1"/>
        </p:nvSpPr>
        <p:spPr bwMode="gray">
          <a:xfrm>
            <a:off x="0" y="6012656"/>
            <a:ext cx="9144000" cy="363532"/>
          </a:xfrm>
          <a:prstGeom prst="rect">
            <a:avLst/>
          </a:prstGeom>
          <a:solidFill>
            <a:srgbClr val="141414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66344" y="342901"/>
            <a:ext cx="8211312" cy="234315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40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344" y="2871216"/>
            <a:ext cx="8211312" cy="323165"/>
          </a:xfrm>
        </p:spPr>
        <p:txBody>
          <a:bodyPr vert="horz" wrap="square" lIns="0" tIns="0" rIns="0" bIns="0" rtlCol="0">
            <a:spAutoFit/>
          </a:bodyPr>
          <a:lstStyle>
            <a:lvl1pPr marL="228600" indent="-228600">
              <a:buNone/>
              <a:defRPr lang="en-US" sz="2100" dirty="0">
                <a:solidFill>
                  <a:schemeClr val="bg1"/>
                </a:solidFill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6344" y="4560889"/>
            <a:ext cx="8211312" cy="1162050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6130503" y="6510528"/>
            <a:ext cx="1120689" cy="208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468693" cy="2088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91597" y="6510528"/>
            <a:ext cx="2245379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pPr algn="l"/>
            <a:endParaRPr lang="en-US" dirty="0"/>
          </a:p>
        </p:txBody>
      </p:sp>
      <p:sp>
        <p:nvSpPr>
          <p:cNvPr id="12" name="TextBox 11" descr="CONFIDENTIAL_TAG_0xFFEE">
            <a:extLst>
              <a:ext uri="{FF2B5EF4-FFF2-40B4-BE49-F238E27FC236}">
                <a16:creationId xmlns:a16="http://schemas.microsoft.com/office/drawing/2014/main" id="{D2F3DBB0-10D0-4DB2-8863-03D25099BF1D}"/>
              </a:ext>
            </a:extLst>
          </p:cNvPr>
          <p:cNvSpPr txBox="1"/>
          <p:nvPr userDrawn="1"/>
        </p:nvSpPr>
        <p:spPr>
          <a:xfrm>
            <a:off x="3291949" y="6539170"/>
            <a:ext cx="2558518" cy="177799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BA1FD66-7238-42BB-8324-E05382CDE6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69848" y="414338"/>
            <a:ext cx="2505831" cy="9144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89AE2C03-7437-1241-94EE-75578D4A9D7F}"/>
              </a:ext>
            </a:extLst>
          </p:cNvPr>
          <p:cNvSpPr/>
          <p:nvPr userDrawn="1"/>
        </p:nvSpPr>
        <p:spPr bwMode="auto">
          <a:xfrm>
            <a:off x="7616142" y="6452653"/>
            <a:ext cx="1527858" cy="347472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4930785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 bwMode="gray">
          <a:xfrm>
            <a:off x="0" y="5918944"/>
            <a:ext cx="9144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Rectangle 22"/>
          <p:cNvSpPr/>
          <p:nvPr userDrawn="1"/>
        </p:nvSpPr>
        <p:spPr bwMode="gray">
          <a:xfrm>
            <a:off x="0" y="6019799"/>
            <a:ext cx="9144000" cy="242207"/>
          </a:xfrm>
          <a:prstGeom prst="rect">
            <a:avLst/>
          </a:prstGeom>
          <a:solidFill>
            <a:srgbClr val="0076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Rectangle 23"/>
          <p:cNvSpPr/>
          <p:nvPr userDrawn="1"/>
        </p:nvSpPr>
        <p:spPr bwMode="gray">
          <a:xfrm>
            <a:off x="0" y="6139542"/>
            <a:ext cx="9144000" cy="236645"/>
          </a:xfrm>
          <a:prstGeom prst="rect">
            <a:avLst/>
          </a:prstGeom>
          <a:solidFill>
            <a:srgbClr val="141414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6344" y="342901"/>
            <a:ext cx="8211312" cy="234315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4000" b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6344" y="2871216"/>
            <a:ext cx="8211312" cy="320040"/>
          </a:xfrm>
        </p:spPr>
        <p:txBody>
          <a:bodyPr vert="horz" wrap="square" lIns="0" tIns="0" rIns="0" bIns="0" rtlCol="0">
            <a:spAutoFit/>
          </a:bodyPr>
          <a:lstStyle>
            <a:lvl1pPr marL="228600" indent="-228600">
              <a:buNone/>
              <a:defRPr lang="en-US" sz="2100" dirty="0">
                <a:solidFill>
                  <a:schemeClr val="accent1"/>
                </a:solidFill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66344" y="4560889"/>
            <a:ext cx="8211312" cy="1162050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accent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6130503" y="6510528"/>
            <a:ext cx="1120689" cy="208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468693" cy="2088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91597" y="6510528"/>
            <a:ext cx="2245379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pPr algn="l"/>
            <a:endParaRPr lang="en-US" dirty="0"/>
          </a:p>
        </p:txBody>
      </p:sp>
      <p:sp>
        <p:nvSpPr>
          <p:cNvPr id="12" name="TextBox 11" descr="CONFIDENTIAL_TAG_0xFFEE">
            <a:extLst>
              <a:ext uri="{FF2B5EF4-FFF2-40B4-BE49-F238E27FC236}">
                <a16:creationId xmlns:a16="http://schemas.microsoft.com/office/drawing/2014/main" id="{426DE119-4FF0-4529-B968-125DE63ED2E9}"/>
              </a:ext>
            </a:extLst>
          </p:cNvPr>
          <p:cNvSpPr txBox="1"/>
          <p:nvPr userDrawn="1"/>
        </p:nvSpPr>
        <p:spPr>
          <a:xfrm>
            <a:off x="3291949" y="6539170"/>
            <a:ext cx="2558518" cy="177799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AB04359-DEFE-48B9-A1EA-59DB158983D2}"/>
              </a:ext>
            </a:extLst>
          </p:cNvPr>
          <p:cNvSpPr/>
          <p:nvPr userDrawn="1"/>
        </p:nvSpPr>
        <p:spPr bwMode="auto">
          <a:xfrm>
            <a:off x="7120467" y="262467"/>
            <a:ext cx="1651000" cy="694266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13" name="Picture 12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AFFD27F8-18D7-47DB-91BB-8B427C060C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66946" y="414338"/>
            <a:ext cx="2508739" cy="9144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142E9D0A-CAC1-2D43-A728-BCD527484F5C}"/>
              </a:ext>
            </a:extLst>
          </p:cNvPr>
          <p:cNvSpPr/>
          <p:nvPr userDrawn="1"/>
        </p:nvSpPr>
        <p:spPr bwMode="auto">
          <a:xfrm>
            <a:off x="7616142" y="6452653"/>
            <a:ext cx="1527858" cy="347472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1204919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anchor="t" anchorCtr="0"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6344" y="1481328"/>
            <a:ext cx="8211312" cy="46360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6130503" y="6510528"/>
            <a:ext cx="1120689" cy="208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468693" cy="2088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91597" y="6510528"/>
            <a:ext cx="2245379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pPr algn="l"/>
            <a:endParaRPr lang="en-US" dirty="0"/>
          </a:p>
        </p:txBody>
      </p:sp>
      <p:sp>
        <p:nvSpPr>
          <p:cNvPr id="10" name="TextBox 9" descr="CONFIDENTIAL_TAG_0xFFEE">
            <a:extLst>
              <a:ext uri="{FF2B5EF4-FFF2-40B4-BE49-F238E27FC236}">
                <a16:creationId xmlns:a16="http://schemas.microsoft.com/office/drawing/2014/main" id="{09E5C97F-E7D4-495C-A18A-0547BA84ED26}"/>
              </a:ext>
            </a:extLst>
          </p:cNvPr>
          <p:cNvSpPr txBox="1"/>
          <p:nvPr userDrawn="1"/>
        </p:nvSpPr>
        <p:spPr>
          <a:xfrm>
            <a:off x="3291949" y="6539170"/>
            <a:ext cx="2558518" cy="177799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66783150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6344" y="420624"/>
            <a:ext cx="8211312" cy="531738"/>
          </a:xfrm>
        </p:spPr>
        <p:txBody>
          <a:bodyPr anchor="t" anchorCtr="0"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6344" y="1481328"/>
            <a:ext cx="8211312" cy="46360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6344" y="905256"/>
            <a:ext cx="8211312" cy="44849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6130503" y="6510528"/>
            <a:ext cx="1120689" cy="208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468693" cy="2088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91597" y="6510528"/>
            <a:ext cx="2245379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pPr algn="l"/>
            <a:endParaRPr lang="en-US" dirty="0"/>
          </a:p>
        </p:txBody>
      </p:sp>
      <p:sp>
        <p:nvSpPr>
          <p:cNvPr id="12" name="TextBox 11" descr="CONFIDENTIAL_TAG_0xFFEE">
            <a:extLst>
              <a:ext uri="{FF2B5EF4-FFF2-40B4-BE49-F238E27FC236}">
                <a16:creationId xmlns:a16="http://schemas.microsoft.com/office/drawing/2014/main" id="{AFF2F103-2DA8-4F36-92EB-91494E33C7D8}"/>
              </a:ext>
            </a:extLst>
          </p:cNvPr>
          <p:cNvSpPr txBox="1"/>
          <p:nvPr userDrawn="1"/>
        </p:nvSpPr>
        <p:spPr>
          <a:xfrm>
            <a:off x="3291949" y="6539170"/>
            <a:ext cx="2558518" cy="177799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472129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6344" y="420624"/>
            <a:ext cx="8211312" cy="96332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66344" y="1481328"/>
            <a:ext cx="3950208" cy="4636008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727448" y="1481328"/>
            <a:ext cx="3950208" cy="4636008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6130503" y="6510528"/>
            <a:ext cx="1120689" cy="208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468693" cy="2088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91597" y="6510528"/>
            <a:ext cx="2245379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pPr algn="l"/>
            <a:endParaRPr lang="en-US" dirty="0"/>
          </a:p>
        </p:txBody>
      </p:sp>
      <p:sp>
        <p:nvSpPr>
          <p:cNvPr id="11" name="TextBox 10" descr="CONFIDENTIAL_TAG_0xFFEE">
            <a:extLst>
              <a:ext uri="{FF2B5EF4-FFF2-40B4-BE49-F238E27FC236}">
                <a16:creationId xmlns:a16="http://schemas.microsoft.com/office/drawing/2014/main" id="{A26CFADA-2607-4DE5-8F68-17C932F13D4B}"/>
              </a:ext>
            </a:extLst>
          </p:cNvPr>
          <p:cNvSpPr txBox="1"/>
          <p:nvPr userDrawn="1"/>
        </p:nvSpPr>
        <p:spPr>
          <a:xfrm>
            <a:off x="3291949" y="6539170"/>
            <a:ext cx="2558518" cy="177799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04347700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 bwMode="gray">
          <a:xfrm>
            <a:off x="0" y="0"/>
            <a:ext cx="9144000" cy="60724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Rectangle 19"/>
          <p:cNvSpPr/>
          <p:nvPr userDrawn="1"/>
        </p:nvSpPr>
        <p:spPr bwMode="gray">
          <a:xfrm>
            <a:off x="0" y="5918944"/>
            <a:ext cx="9144000" cy="50799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 20"/>
          <p:cNvSpPr/>
          <p:nvPr userDrawn="1"/>
        </p:nvSpPr>
        <p:spPr bwMode="gray">
          <a:xfrm>
            <a:off x="0" y="5717789"/>
            <a:ext cx="9144000" cy="4784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Rectangle 21"/>
          <p:cNvSpPr/>
          <p:nvPr userDrawn="1"/>
        </p:nvSpPr>
        <p:spPr bwMode="gray">
          <a:xfrm>
            <a:off x="0" y="6012657"/>
            <a:ext cx="9144000" cy="363532"/>
          </a:xfrm>
          <a:prstGeom prst="rect">
            <a:avLst/>
          </a:prstGeom>
          <a:solidFill>
            <a:srgbClr val="141414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344" y="3328416"/>
            <a:ext cx="8211312" cy="1329267"/>
          </a:xfrm>
        </p:spPr>
        <p:txBody>
          <a:bodyPr>
            <a:noAutofit/>
          </a:bodyPr>
          <a:lstStyle>
            <a:lvl1pPr marL="0" indent="0" algn="l">
              <a:buNone/>
              <a:defRPr sz="1800" cap="none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 bwMode="gray">
          <a:xfrm>
            <a:off x="466344" y="1972855"/>
            <a:ext cx="8211312" cy="1165224"/>
          </a:xfrm>
        </p:spPr>
        <p:txBody>
          <a:bodyPr anchor="b" anchorCtr="0"/>
          <a:lstStyle>
            <a:lvl1pPr>
              <a:defRPr b="0"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Section Header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6130503" y="6510528"/>
            <a:ext cx="1120689" cy="208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468693" cy="2088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91597" y="6510528"/>
            <a:ext cx="2245379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pPr algn="l"/>
            <a:endParaRPr lang="en-US" dirty="0"/>
          </a:p>
        </p:txBody>
      </p:sp>
      <p:sp>
        <p:nvSpPr>
          <p:cNvPr id="14" name="TextBox 13" descr="CONFIDENTIAL_TAG_0xFFEE">
            <a:extLst>
              <a:ext uri="{FF2B5EF4-FFF2-40B4-BE49-F238E27FC236}">
                <a16:creationId xmlns:a16="http://schemas.microsoft.com/office/drawing/2014/main" id="{D5171E5E-27C8-4C68-922B-D4DC4DAB0B98}"/>
              </a:ext>
            </a:extLst>
          </p:cNvPr>
          <p:cNvSpPr txBox="1"/>
          <p:nvPr userDrawn="1"/>
        </p:nvSpPr>
        <p:spPr>
          <a:xfrm>
            <a:off x="3291949" y="6539170"/>
            <a:ext cx="2558518" cy="177799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EBBEB1D-41C8-444C-8331-84652D431E9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69848" y="414338"/>
            <a:ext cx="2505831" cy="9144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F5138699-F3EF-0E4A-B2E2-BC067838F492}"/>
              </a:ext>
            </a:extLst>
          </p:cNvPr>
          <p:cNvSpPr/>
          <p:nvPr userDrawn="1"/>
        </p:nvSpPr>
        <p:spPr bwMode="auto">
          <a:xfrm>
            <a:off x="7616142" y="6452653"/>
            <a:ext cx="1527858" cy="347472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3911439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453543" y="3563772"/>
            <a:ext cx="8236914" cy="45719"/>
            <a:chOff x="453543" y="3563772"/>
            <a:chExt cx="8236914" cy="45719"/>
          </a:xfrm>
        </p:grpSpPr>
        <p:sp>
          <p:nvSpPr>
            <p:cNvPr id="24" name="Rectangle 23"/>
            <p:cNvSpPr/>
            <p:nvPr/>
          </p:nvSpPr>
          <p:spPr bwMode="auto">
            <a:xfrm flipH="1">
              <a:off x="4572000" y="3563772"/>
              <a:ext cx="4118457" cy="4571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26" name="Rectangle 25"/>
            <p:cNvSpPr/>
            <p:nvPr/>
          </p:nvSpPr>
          <p:spPr bwMode="auto">
            <a:xfrm flipH="1">
              <a:off x="453543" y="3563772"/>
              <a:ext cx="4118457" cy="4571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1080000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27" name="Group 26"/>
          <p:cNvGrpSpPr/>
          <p:nvPr userDrawn="1"/>
        </p:nvGrpSpPr>
        <p:grpSpPr>
          <a:xfrm>
            <a:off x="4547705" y="1233839"/>
            <a:ext cx="48589" cy="4822179"/>
            <a:chOff x="4547705" y="1233839"/>
            <a:chExt cx="48589" cy="4822179"/>
          </a:xfrm>
        </p:grpSpPr>
        <p:sp>
          <p:nvSpPr>
            <p:cNvPr id="32" name="Rectangle 31"/>
            <p:cNvSpPr/>
            <p:nvPr/>
          </p:nvSpPr>
          <p:spPr bwMode="auto">
            <a:xfrm rot="5400000" flipH="1">
              <a:off x="3366455" y="4826179"/>
              <a:ext cx="2411089" cy="4858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3" name="Rectangle 32"/>
            <p:cNvSpPr/>
            <p:nvPr/>
          </p:nvSpPr>
          <p:spPr bwMode="auto">
            <a:xfrm rot="5400000" flipH="1">
              <a:off x="3366455" y="2415089"/>
              <a:ext cx="2411089" cy="4858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1080000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6344" y="1865376"/>
            <a:ext cx="3857625" cy="1664208"/>
          </a:xfrm>
        </p:spPr>
        <p:txBody>
          <a:bodyPr>
            <a:noAutofit/>
          </a:bodyPr>
          <a:lstStyle>
            <a:lvl1pPr marL="171450" indent="-171450"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2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828032" y="1865376"/>
            <a:ext cx="3858768" cy="1664208"/>
          </a:xfrm>
        </p:spPr>
        <p:txBody>
          <a:bodyPr>
            <a:noAutofit/>
          </a:bodyPr>
          <a:lstStyle>
            <a:lvl1pPr marL="171450" indent="-171450"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2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3" name="Text Placeholder 2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66344" y="4169664"/>
            <a:ext cx="3857625" cy="1660672"/>
          </a:xfrm>
        </p:spPr>
        <p:txBody>
          <a:bodyPr/>
          <a:lstStyle>
            <a:lvl1pPr marL="171450" indent="-171450"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2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5" name="Text Placeholder 24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828032" y="4169664"/>
            <a:ext cx="3858768" cy="1664208"/>
          </a:xfrm>
        </p:spPr>
        <p:txBody>
          <a:bodyPr/>
          <a:lstStyle>
            <a:lvl1pPr marL="171450" indent="-171450"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2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8" name="Title 27"/>
          <p:cNvSpPr>
            <a:spLocks noGrp="1"/>
          </p:cNvSpPr>
          <p:nvPr userDrawn="1">
            <p:ph type="title" hasCustomPrompt="1"/>
          </p:nvPr>
        </p:nvSpPr>
        <p:spPr/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0" name="Text Placeholder 39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66344" y="1481328"/>
            <a:ext cx="3858820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41" name="Text Placeholder 39"/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4828032" y="1481328"/>
            <a:ext cx="3858768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42" name="Text Placeholder 39"/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466344" y="3767328"/>
            <a:ext cx="3860479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43" name="Text Placeholder 39"/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4828032" y="3767328"/>
            <a:ext cx="3858768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2"/>
          </p:nvPr>
        </p:nvSpPr>
        <p:spPr>
          <a:xfrm>
            <a:off x="6130503" y="6510528"/>
            <a:ext cx="1120689" cy="208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23"/>
          </p:nvPr>
        </p:nvSpPr>
        <p:spPr>
          <a:xfrm>
            <a:off x="466344" y="6510528"/>
            <a:ext cx="468693" cy="2088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91597" y="6510528"/>
            <a:ext cx="2245379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pPr algn="l"/>
            <a:endParaRPr lang="en-US" dirty="0"/>
          </a:p>
        </p:txBody>
      </p:sp>
      <p:sp>
        <p:nvSpPr>
          <p:cNvPr id="29" name="TextBox 28" descr="CONFIDENTIAL_TAG_0xFFEE">
            <a:extLst>
              <a:ext uri="{FF2B5EF4-FFF2-40B4-BE49-F238E27FC236}">
                <a16:creationId xmlns:a16="http://schemas.microsoft.com/office/drawing/2014/main" id="{57B42D6A-42E6-4167-9F2C-BA5BE7E80EC7}"/>
              </a:ext>
            </a:extLst>
          </p:cNvPr>
          <p:cNvSpPr txBox="1"/>
          <p:nvPr userDrawn="1"/>
        </p:nvSpPr>
        <p:spPr>
          <a:xfrm>
            <a:off x="3291949" y="6539170"/>
            <a:ext cx="2558518" cy="177799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94640564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gray">
          <a:xfrm>
            <a:off x="461962" y="6192078"/>
            <a:ext cx="8319275" cy="123966"/>
          </a:xfrm>
          <a:prstGeom prst="rect">
            <a:avLst/>
          </a:prstGeom>
          <a:solidFill>
            <a:srgbClr val="0076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 userDrawn="1"/>
        </p:nvSpPr>
        <p:spPr bwMode="gray">
          <a:xfrm>
            <a:off x="461962" y="6252068"/>
            <a:ext cx="8319275" cy="123967"/>
          </a:xfrm>
          <a:prstGeom prst="rect">
            <a:avLst/>
          </a:prstGeom>
          <a:solidFill>
            <a:srgbClr val="141414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Freeform: Shape 13"/>
          <p:cNvSpPr/>
          <p:nvPr userDrawn="1"/>
        </p:nvSpPr>
        <p:spPr bwMode="white">
          <a:xfrm>
            <a:off x="8699086" y="6181821"/>
            <a:ext cx="109538" cy="221456"/>
          </a:xfrm>
          <a:custGeom>
            <a:avLst/>
            <a:gdLst>
              <a:gd name="connsiteX0" fmla="*/ 0 w 402431"/>
              <a:gd name="connsiteY0" fmla="*/ 321468 h 340518"/>
              <a:gd name="connsiteX1" fmla="*/ 114300 w 402431"/>
              <a:gd name="connsiteY1" fmla="*/ 0 h 340518"/>
              <a:gd name="connsiteX2" fmla="*/ 402431 w 402431"/>
              <a:gd name="connsiteY2" fmla="*/ 0 h 340518"/>
              <a:gd name="connsiteX3" fmla="*/ 402431 w 402431"/>
              <a:gd name="connsiteY3" fmla="*/ 340518 h 340518"/>
              <a:gd name="connsiteX4" fmla="*/ 0 w 402431"/>
              <a:gd name="connsiteY4" fmla="*/ 321468 h 340518"/>
              <a:gd name="connsiteX0" fmla="*/ 0 w 402431"/>
              <a:gd name="connsiteY0" fmla="*/ 321468 h 340518"/>
              <a:gd name="connsiteX1" fmla="*/ 76200 w 402431"/>
              <a:gd name="connsiteY1" fmla="*/ 100013 h 340518"/>
              <a:gd name="connsiteX2" fmla="*/ 402431 w 402431"/>
              <a:gd name="connsiteY2" fmla="*/ 0 h 340518"/>
              <a:gd name="connsiteX3" fmla="*/ 402431 w 402431"/>
              <a:gd name="connsiteY3" fmla="*/ 340518 h 340518"/>
              <a:gd name="connsiteX4" fmla="*/ 0 w 402431"/>
              <a:gd name="connsiteY4" fmla="*/ 321468 h 340518"/>
              <a:gd name="connsiteX0" fmla="*/ 0 w 402431"/>
              <a:gd name="connsiteY0" fmla="*/ 321468 h 340518"/>
              <a:gd name="connsiteX1" fmla="*/ 76200 w 402431"/>
              <a:gd name="connsiteY1" fmla="*/ 100013 h 340518"/>
              <a:gd name="connsiteX2" fmla="*/ 402431 w 402431"/>
              <a:gd name="connsiteY2" fmla="*/ 0 h 340518"/>
              <a:gd name="connsiteX3" fmla="*/ 402431 w 402431"/>
              <a:gd name="connsiteY3" fmla="*/ 340518 h 340518"/>
              <a:gd name="connsiteX4" fmla="*/ 0 w 402431"/>
              <a:gd name="connsiteY4" fmla="*/ 321468 h 340518"/>
              <a:gd name="connsiteX0" fmla="*/ 0 w 402431"/>
              <a:gd name="connsiteY0" fmla="*/ 321468 h 340518"/>
              <a:gd name="connsiteX1" fmla="*/ 76200 w 402431"/>
              <a:gd name="connsiteY1" fmla="*/ 100013 h 340518"/>
              <a:gd name="connsiteX2" fmla="*/ 402431 w 402431"/>
              <a:gd name="connsiteY2" fmla="*/ 0 h 340518"/>
              <a:gd name="connsiteX3" fmla="*/ 402431 w 402431"/>
              <a:gd name="connsiteY3" fmla="*/ 340518 h 340518"/>
              <a:gd name="connsiteX4" fmla="*/ 0 w 402431"/>
              <a:gd name="connsiteY4" fmla="*/ 321468 h 340518"/>
              <a:gd name="connsiteX0" fmla="*/ 0 w 402431"/>
              <a:gd name="connsiteY0" fmla="*/ 321468 h 321468"/>
              <a:gd name="connsiteX1" fmla="*/ 76200 w 402431"/>
              <a:gd name="connsiteY1" fmla="*/ 100013 h 321468"/>
              <a:gd name="connsiteX2" fmla="*/ 402431 w 402431"/>
              <a:gd name="connsiteY2" fmla="*/ 0 h 321468"/>
              <a:gd name="connsiteX3" fmla="*/ 104775 w 402431"/>
              <a:gd name="connsiteY3" fmla="*/ 319087 h 321468"/>
              <a:gd name="connsiteX4" fmla="*/ 0 w 402431"/>
              <a:gd name="connsiteY4" fmla="*/ 321468 h 321468"/>
              <a:gd name="connsiteX0" fmla="*/ 0 w 109537"/>
              <a:gd name="connsiteY0" fmla="*/ 221455 h 221455"/>
              <a:gd name="connsiteX1" fmla="*/ 76200 w 109537"/>
              <a:gd name="connsiteY1" fmla="*/ 0 h 221455"/>
              <a:gd name="connsiteX2" fmla="*/ 109537 w 109537"/>
              <a:gd name="connsiteY2" fmla="*/ 14287 h 221455"/>
              <a:gd name="connsiteX3" fmla="*/ 104775 w 109537"/>
              <a:gd name="connsiteY3" fmla="*/ 219074 h 221455"/>
              <a:gd name="connsiteX4" fmla="*/ 0 w 109537"/>
              <a:gd name="connsiteY4" fmla="*/ 221455 h 221455"/>
              <a:gd name="connsiteX0" fmla="*/ 0 w 111918"/>
              <a:gd name="connsiteY0" fmla="*/ 221455 h 221455"/>
              <a:gd name="connsiteX1" fmla="*/ 76200 w 111918"/>
              <a:gd name="connsiteY1" fmla="*/ 0 h 221455"/>
              <a:gd name="connsiteX2" fmla="*/ 111918 w 111918"/>
              <a:gd name="connsiteY2" fmla="*/ 14287 h 221455"/>
              <a:gd name="connsiteX3" fmla="*/ 104775 w 111918"/>
              <a:gd name="connsiteY3" fmla="*/ 219074 h 221455"/>
              <a:gd name="connsiteX4" fmla="*/ 0 w 111918"/>
              <a:gd name="connsiteY4" fmla="*/ 221455 h 221455"/>
              <a:gd name="connsiteX0" fmla="*/ 0 w 111918"/>
              <a:gd name="connsiteY0" fmla="*/ 221455 h 221455"/>
              <a:gd name="connsiteX1" fmla="*/ 76200 w 111918"/>
              <a:gd name="connsiteY1" fmla="*/ 0 h 221455"/>
              <a:gd name="connsiteX2" fmla="*/ 111918 w 111918"/>
              <a:gd name="connsiteY2" fmla="*/ 4762 h 221455"/>
              <a:gd name="connsiteX3" fmla="*/ 104775 w 111918"/>
              <a:gd name="connsiteY3" fmla="*/ 219074 h 221455"/>
              <a:gd name="connsiteX4" fmla="*/ 0 w 111918"/>
              <a:gd name="connsiteY4" fmla="*/ 221455 h 221455"/>
              <a:gd name="connsiteX0" fmla="*/ 0 w 111918"/>
              <a:gd name="connsiteY0" fmla="*/ 221455 h 221455"/>
              <a:gd name="connsiteX1" fmla="*/ 76200 w 111918"/>
              <a:gd name="connsiteY1" fmla="*/ 0 h 221455"/>
              <a:gd name="connsiteX2" fmla="*/ 111918 w 111918"/>
              <a:gd name="connsiteY2" fmla="*/ 4762 h 221455"/>
              <a:gd name="connsiteX3" fmla="*/ 104775 w 111918"/>
              <a:gd name="connsiteY3" fmla="*/ 219074 h 221455"/>
              <a:gd name="connsiteX4" fmla="*/ 0 w 111918"/>
              <a:gd name="connsiteY4" fmla="*/ 221455 h 221455"/>
              <a:gd name="connsiteX0" fmla="*/ 0 w 111918"/>
              <a:gd name="connsiteY0" fmla="*/ 221455 h 221455"/>
              <a:gd name="connsiteX1" fmla="*/ 76200 w 111918"/>
              <a:gd name="connsiteY1" fmla="*/ 0 h 221455"/>
              <a:gd name="connsiteX2" fmla="*/ 111918 w 111918"/>
              <a:gd name="connsiteY2" fmla="*/ 4762 h 221455"/>
              <a:gd name="connsiteX3" fmla="*/ 104775 w 111918"/>
              <a:gd name="connsiteY3" fmla="*/ 219074 h 221455"/>
              <a:gd name="connsiteX4" fmla="*/ 0 w 111918"/>
              <a:gd name="connsiteY4" fmla="*/ 221455 h 221455"/>
              <a:gd name="connsiteX0" fmla="*/ 0 w 109537"/>
              <a:gd name="connsiteY0" fmla="*/ 221456 h 221456"/>
              <a:gd name="connsiteX1" fmla="*/ 76200 w 109537"/>
              <a:gd name="connsiteY1" fmla="*/ 1 h 221456"/>
              <a:gd name="connsiteX2" fmla="*/ 109537 w 109537"/>
              <a:gd name="connsiteY2" fmla="*/ 0 h 221456"/>
              <a:gd name="connsiteX3" fmla="*/ 104775 w 109537"/>
              <a:gd name="connsiteY3" fmla="*/ 219075 h 221456"/>
              <a:gd name="connsiteX4" fmla="*/ 0 w 109537"/>
              <a:gd name="connsiteY4" fmla="*/ 221456 h 221456"/>
              <a:gd name="connsiteX0" fmla="*/ 0 w 109538"/>
              <a:gd name="connsiteY0" fmla="*/ 221456 h 221456"/>
              <a:gd name="connsiteX1" fmla="*/ 76200 w 109538"/>
              <a:gd name="connsiteY1" fmla="*/ 1 h 221456"/>
              <a:gd name="connsiteX2" fmla="*/ 109537 w 109538"/>
              <a:gd name="connsiteY2" fmla="*/ 0 h 221456"/>
              <a:gd name="connsiteX3" fmla="*/ 109538 w 109538"/>
              <a:gd name="connsiteY3" fmla="*/ 219075 h 221456"/>
              <a:gd name="connsiteX4" fmla="*/ 0 w 109538"/>
              <a:gd name="connsiteY4" fmla="*/ 221456 h 221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538" h="221456">
                <a:moveTo>
                  <a:pt x="0" y="221456"/>
                </a:moveTo>
                <a:lnTo>
                  <a:pt x="76200" y="1"/>
                </a:lnTo>
                <a:lnTo>
                  <a:pt x="109537" y="0"/>
                </a:lnTo>
                <a:cubicBezTo>
                  <a:pt x="109537" y="73025"/>
                  <a:pt x="109538" y="146050"/>
                  <a:pt x="109538" y="219075"/>
                </a:cubicBezTo>
                <a:lnTo>
                  <a:pt x="0" y="221456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5375348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2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6344" y="420624"/>
            <a:ext cx="6637189" cy="96332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6344" y="1481328"/>
            <a:ext cx="8211312" cy="46360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 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30503" y="6510528"/>
            <a:ext cx="1120689" cy="208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468693" cy="2088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91597" y="6510528"/>
            <a:ext cx="2245379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pPr algn="l"/>
            <a:endParaRPr lang="en-US" dirty="0"/>
          </a:p>
        </p:txBody>
      </p:sp>
      <p:pic>
        <p:nvPicPr>
          <p:cNvPr id="16" name="Picture 15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9F8132B6-B68B-4AF7-8A1E-5C978A21A8DF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4344" y="6438502"/>
            <a:ext cx="923312" cy="336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7799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722" r:id="rId2"/>
    <p:sldLayoutId id="2147483684" r:id="rId3"/>
    <p:sldLayoutId id="2147483704" r:id="rId4"/>
    <p:sldLayoutId id="2147483685" r:id="rId5"/>
    <p:sldLayoutId id="2147483686" r:id="rId6"/>
    <p:sldLayoutId id="2147483687" r:id="rId7"/>
    <p:sldLayoutId id="2147483688" r:id="rId8"/>
    <p:sldLayoutId id="2147483699" r:id="rId9"/>
    <p:sldLayoutId id="2147483705" r:id="rId10"/>
    <p:sldLayoutId id="2147483700" r:id="rId11"/>
    <p:sldLayoutId id="2147483701" r:id="rId12"/>
    <p:sldLayoutId id="2147483718" r:id="rId13"/>
    <p:sldLayoutId id="2147483702" r:id="rId14"/>
    <p:sldLayoutId id="2147483703" r:id="rId15"/>
  </p:sldLayoutIdLs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6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SzPct val="115000"/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69863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SzPct val="85000"/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44538" indent="-228600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Font typeface="Arial" pitchFamily="34" charset="0"/>
        <a:buChar char="−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171450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Font typeface="Arial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201738" indent="-228600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93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pos="5467" userDrawn="1">
          <p15:clr>
            <a:srgbClr val="F26B43"/>
          </p15:clr>
        </p15:guide>
        <p15:guide id="4" orient="horz" pos="2160" userDrawn="1">
          <p15:clr>
            <a:srgbClr val="F26B43"/>
          </p15:clr>
        </p15:guide>
        <p15:guide id="5" orient="horz" pos="261" userDrawn="1">
          <p15:clr>
            <a:srgbClr val="F26B43"/>
          </p15:clr>
        </p15:guide>
        <p15:guide id="6" orient="horz" pos="875" userDrawn="1">
          <p15:clr>
            <a:srgbClr val="F26B43"/>
          </p15:clr>
        </p15:guide>
        <p15:guide id="7" orient="horz" pos="928" userDrawn="1">
          <p15:clr>
            <a:srgbClr val="F26B43"/>
          </p15:clr>
        </p15:guide>
        <p15:guide id="8" orient="horz" pos="3856" userDrawn="1">
          <p15:clr>
            <a:srgbClr val="F26B43"/>
          </p15:clr>
        </p15:guide>
        <p15:guide id="10" orient="horz" pos="4200" userDrawn="1">
          <p15:clr>
            <a:srgbClr val="F26B43"/>
          </p15:clr>
        </p15:guide>
        <p15:guide id="11" orient="horz" pos="405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tif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36.tiff"/><Relationship Id="rId4" Type="http://schemas.openxmlformats.org/officeDocument/2006/relationships/image" Target="../media/image35.tif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tif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5.jpg"/><Relationship Id="rId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4.tif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7.png"/><Relationship Id="rId4" Type="http://schemas.openxmlformats.org/officeDocument/2006/relationships/image" Target="../media/image26.tif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 descr="&lt;TITLE&gt;{184.5,646.56,27.00008,36.72}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Mapping Accumulated Heat and Plant Phenology Data</a:t>
            </a:r>
          </a:p>
        </p:txBody>
      </p:sp>
      <p:sp>
        <p:nvSpPr>
          <p:cNvPr id="8" name="Text Placeholder 7" descr="&lt;COMPANY_NAME&gt;{91.5,646.56,359.1251,36.72}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US" dirty="0"/>
              <a:t>Karlee Bradley</a:t>
            </a:r>
          </a:p>
          <a:p>
            <a:pPr lvl="0"/>
            <a:r>
              <a:rPr lang="en-US" dirty="0"/>
              <a:t>Data Visualization Intern</a:t>
            </a:r>
          </a:p>
          <a:p>
            <a:pPr lvl="0"/>
            <a:r>
              <a:rPr lang="en-US" dirty="0"/>
              <a:t>July 31, 2019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800296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iny App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AGDD-year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3BE2256-B42F-E840-A8BA-BEA88C9268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3172" y="1353750"/>
            <a:ext cx="8677656" cy="47827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13977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iny App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Pheno</a:t>
            </a:r>
            <a:r>
              <a:rPr lang="en-US" dirty="0"/>
              <a:t>-lin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493F500-A972-A041-8864-B5C7DB38CE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52935" y="1353750"/>
            <a:ext cx="6638130" cy="4754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6302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iny App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Pheno</a:t>
            </a:r>
            <a:r>
              <a:rPr lang="en-US" dirty="0"/>
              <a:t>-area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2</a:t>
            </a:fld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D76824E-6CBD-DD43-AA2A-7977C65E58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0317" y="1353750"/>
            <a:ext cx="8823366" cy="4911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141227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iny App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AGDD-</a:t>
            </a:r>
            <a:r>
              <a:rPr lang="en-US" dirty="0" err="1"/>
              <a:t>tabsets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B6AB600-1E4C-8D4E-97AC-63497DB98B9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7517" y="1353750"/>
            <a:ext cx="7908966" cy="49333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531000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iny App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Pheno</a:t>
            </a:r>
            <a:r>
              <a:rPr lang="en-US" dirty="0"/>
              <a:t>-tab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6A71CBE-CD82-864A-B241-4DD3D1AB8A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3454" y="1353750"/>
            <a:ext cx="7897091" cy="47695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459640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Story Draft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39CB49A-6656-9149-82F0-682B184A08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57269" y="955161"/>
            <a:ext cx="3959604" cy="264306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EA101B7-E7A3-9444-895C-965D54079BB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27995" y="3429000"/>
            <a:ext cx="4288010" cy="285152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C738A23-2C24-D94C-BC1D-6117D68E706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6343" y="955162"/>
            <a:ext cx="3980407" cy="2992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632149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al Product…so fa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6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98DC446-4714-2740-85AA-9615AD6CB0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34093" y="1383948"/>
            <a:ext cx="6875813" cy="4643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867090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al Product…so far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Shiny app overview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7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216834C-0862-9B4D-9871-7A592CDA46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184384"/>
            <a:ext cx="9144000" cy="5326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477533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al Product…so far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Phenophas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8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72B78BA-2650-C34A-B2D7-73C2B5A28BB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196"/>
          <a:stretch/>
        </p:blipFill>
        <p:spPr>
          <a:xfrm>
            <a:off x="199128" y="1436994"/>
            <a:ext cx="8745744" cy="4206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170431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al Product…so far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AGDD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9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54CA50B-3362-CA4B-A364-3E778CC162E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670"/>
          <a:stretch/>
        </p:blipFill>
        <p:spPr>
          <a:xfrm>
            <a:off x="0" y="1645794"/>
            <a:ext cx="9144000" cy="3562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47083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NEON tutorials and other program tutorials</a:t>
            </a:r>
          </a:p>
          <a:p>
            <a:r>
              <a:rPr lang="en-US" dirty="0"/>
              <a:t>Plant phenology and AGDDs</a:t>
            </a:r>
          </a:p>
          <a:p>
            <a:r>
              <a:rPr lang="en-US" dirty="0"/>
              <a:t>Getting to know the data</a:t>
            </a:r>
          </a:p>
          <a:p>
            <a:r>
              <a:rPr lang="en-US"/>
              <a:t>Initial shiny </a:t>
            </a:r>
            <a:r>
              <a:rPr lang="en-US" dirty="0"/>
              <a:t>apps</a:t>
            </a:r>
          </a:p>
          <a:p>
            <a:r>
              <a:rPr lang="en-US" dirty="0"/>
              <a:t>Data story</a:t>
            </a:r>
          </a:p>
          <a:p>
            <a:r>
              <a:rPr lang="en-US" dirty="0"/>
              <a:t>Final products</a:t>
            </a:r>
          </a:p>
          <a:p>
            <a:r>
              <a:rPr lang="en-US" dirty="0"/>
              <a:t>About me!</a:t>
            </a:r>
          </a:p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927865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al Product…so far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Phenophases and AGDD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20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ED2CFF7-7F78-B844-A17C-284F985DD7A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473"/>
          <a:stretch/>
        </p:blipFill>
        <p:spPr>
          <a:xfrm>
            <a:off x="0" y="1703432"/>
            <a:ext cx="9144000" cy="35903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967515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al Product…so far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Application Info, pt. 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21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D87F570-A2D1-DA4B-B922-203493A6063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76393"/>
            <a:ext cx="9144000" cy="4476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016450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al Product…so far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Application Info, pt. 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22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A2ED5EA-B973-6C4D-BC86-FDA1E75698F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250"/>
          <a:stretch/>
        </p:blipFill>
        <p:spPr>
          <a:xfrm>
            <a:off x="0" y="1674420"/>
            <a:ext cx="9144000" cy="2674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81011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bout Me!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23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106059C-BC56-C146-BF13-8D76162AF5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6266" y="152007"/>
            <a:ext cx="3276993" cy="327699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9132BB0-D68A-5F4E-9E70-257B7AC6FFC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526" y="902286"/>
            <a:ext cx="3556412" cy="355641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1E7BCBE-FEA4-D342-B067-21DAD3372E0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9040" y="2997007"/>
            <a:ext cx="3742054" cy="3381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775686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11AB822-3274-9D40-9FBD-1E198128DE0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1352" y="420624"/>
            <a:ext cx="5661295" cy="5661295"/>
          </a:xfrm>
          <a:prstGeom prst="rect">
            <a:avLst/>
          </a:prstGeom>
        </p:spPr>
      </p:pic>
      <p:sp>
        <p:nvSpPr>
          <p:cNvPr id="23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bout Me!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113913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468031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utorials and New Program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F7AFB4E-FC82-E446-8BC5-ED6B7E4269E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1529"/>
          <a:stretch/>
        </p:blipFill>
        <p:spPr>
          <a:xfrm>
            <a:off x="1145968" y="1050614"/>
            <a:ext cx="6852063" cy="96332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A1D2050-152A-2945-9D65-F32C31E72B3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8950"/>
          <a:stretch/>
        </p:blipFill>
        <p:spPr>
          <a:xfrm>
            <a:off x="1080654" y="2253342"/>
            <a:ext cx="6917512" cy="149926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D730228-8954-1747-B0B1-382DA7D26FC9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8271"/>
          <a:stretch/>
        </p:blipFill>
        <p:spPr>
          <a:xfrm>
            <a:off x="1145967" y="4089113"/>
            <a:ext cx="6852063" cy="1499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49630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 Idea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4CB80CA-56F6-E64E-AF8B-EADABFD4298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902286"/>
            <a:ext cx="6139543" cy="129253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D397FA1-AC2D-8044-BDF2-750320D177F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06811" y="2194822"/>
            <a:ext cx="6637189" cy="159797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BD44CB9-0E34-8E40-A173-A8A252C3453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6322" y="3792801"/>
            <a:ext cx="3871356" cy="2580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40181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finitions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Phenology: </a:t>
            </a:r>
            <a:r>
              <a:rPr lang="en-US" dirty="0"/>
              <a:t>the study of cyclic and seasonal natural phenomena</a:t>
            </a:r>
          </a:p>
          <a:p>
            <a:r>
              <a:rPr lang="en-US" b="1" dirty="0"/>
              <a:t>Plant phenology:</a:t>
            </a:r>
            <a:r>
              <a:rPr lang="en-US" dirty="0"/>
              <a:t> the transition of plants through phenophase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287337" lvl="1" indent="0">
              <a:buNone/>
            </a:pPr>
            <a:br>
              <a:rPr lang="en-US" dirty="0"/>
            </a:b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81D6C3B-1F3E-CA40-90F3-95D78736D44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673" y="3162108"/>
            <a:ext cx="2307181" cy="130405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EA619DC-1D7E-814F-A1C0-204C666F003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0119" y="4573731"/>
            <a:ext cx="1616364" cy="226842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05417AA-50B4-BA46-A1D7-DA4E44B3EF8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65751" y="4006575"/>
            <a:ext cx="1466396" cy="213985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3942E26-696C-DD4E-B01B-D6EE84980B0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68982" y="2727792"/>
            <a:ext cx="2289806" cy="255756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D5D31BF-BC10-F34B-96F7-70CA2FB4B9F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36172" y="2827727"/>
            <a:ext cx="2678526" cy="204651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0E641E2-1DFC-9B4F-8CC4-0B8D8FA8F35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313592" y="5285358"/>
            <a:ext cx="3186051" cy="1152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1850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uiExpand="1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finition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Content Placeholder 17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en-US" b="1" dirty="0"/>
                  <a:t>Growing Degree Days (GDDs):</a:t>
                </a:r>
                <a:r>
                  <a:rPr lang="en-US" dirty="0"/>
                  <a:t> the number of degrees the average daily temperature exceeds the temperature below which the organism remains developmentally inactive</a:t>
                </a:r>
              </a:p>
              <a:p>
                <a:r>
                  <a:rPr lang="en-US" dirty="0"/>
                  <a:t>GDD =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US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𝑇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𝑚𝑎𝑥</m:t>
                            </m:r>
                          </m:sub>
                        </m:s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+ </m:t>
                        </m:r>
                        <m:sSub>
                          <m:sSubPr>
                            <m:ctrlPr>
                              <a:rPr lang="en-US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𝑇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𝑚𝑖𝑛</m:t>
                            </m:r>
                          </m:sub>
                        </m:sSub>
                      </m:num>
                      <m:den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den>
                    </m:f>
                    <m:r>
                      <a:rPr lang="en-US" b="0" i="1" smtClean="0">
                        <a:latin typeface="Cambria Math" panose="02040503050406030204" pitchFamily="18" charset="0"/>
                      </a:rPr>
                      <m:t> − </m:t>
                    </m:r>
                    <m:sSub>
                      <m:sSub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𝑇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𝑏𝑎𝑠𝑒</m:t>
                        </m:r>
                      </m:sub>
                    </m:sSub>
                  </m:oMath>
                </a14:m>
                <a:endParaRPr lang="en-US" dirty="0"/>
              </a:p>
              <a:p>
                <a:r>
                  <a:rPr lang="en-US" b="1" dirty="0"/>
                  <a:t>Ex: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87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65</m:t>
                        </m:r>
                      </m:num>
                      <m:den>
                        <m:r>
                          <a:rPr lang="en-US" i="1">
                            <a:latin typeface="Cambria Math" panose="02040503050406030204" pitchFamily="18" charset="0"/>
                          </a:rPr>
                          <m:t>2</m:t>
                        </m:r>
                      </m:den>
                    </m:f>
                    <m:r>
                      <a:rPr lang="en-US" i="1">
                        <a:latin typeface="Cambria Math" panose="02040503050406030204" pitchFamily="18" charset="0"/>
                      </a:rPr>
                      <m:t> −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50=26</m:t>
                    </m:r>
                  </m:oMath>
                </a14:m>
                <a:endParaRPr lang="en-US" b="1" dirty="0"/>
              </a:p>
              <a:p>
                <a:r>
                  <a:rPr lang="en-US" dirty="0"/>
                  <a:t> </a:t>
                </a:r>
                <a:r>
                  <a:rPr lang="en-US" b="1" dirty="0"/>
                  <a:t>Accumulated Growing Degree Days (AGDDs): </a:t>
                </a:r>
                <a:r>
                  <a:rPr lang="en-US" dirty="0"/>
                  <a:t>the annual accumulation of heat as GDDs</a:t>
                </a:r>
              </a:p>
            </p:txBody>
          </p:sp>
        </mc:Choice>
        <mc:Fallback xmlns="">
          <p:sp>
            <p:nvSpPr>
              <p:cNvPr id="18" name="Content Placeholder 17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3"/>
                <a:stretch>
                  <a:fillRect l="-2318" t="-273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68976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tting to Know Plant Phenology and AGDD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B6E99E4-9BBA-444E-9380-44EBBE4BE20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593" y="1652093"/>
            <a:ext cx="5911850" cy="234451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3291F86-C4F0-6348-B1E5-E8D6E92305F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13508" y="2514521"/>
            <a:ext cx="3455390" cy="3500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23035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laying with Data and Doing Research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tephanie Parker: aquatic ecosystems</a:t>
            </a:r>
          </a:p>
          <a:p>
            <a:r>
              <a:rPr lang="en-US" dirty="0"/>
              <a:t>Katie </a:t>
            </a:r>
            <a:r>
              <a:rPr lang="en-US" dirty="0" err="1"/>
              <a:t>LeVan</a:t>
            </a:r>
            <a:r>
              <a:rPr lang="en-US" dirty="0"/>
              <a:t>: insects (gypsy moth)</a:t>
            </a:r>
          </a:p>
          <a:p>
            <a:r>
              <a:rPr lang="en-US" dirty="0"/>
              <a:t>Lee </a:t>
            </a:r>
            <a:r>
              <a:rPr lang="en-US" dirty="0" err="1"/>
              <a:t>Stanish</a:t>
            </a:r>
            <a:r>
              <a:rPr lang="en-US" dirty="0"/>
              <a:t>: microb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12418CB-FC62-3044-8C85-EE19A9DB6B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05861" y="2001242"/>
            <a:ext cx="2671795" cy="266075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F95D74C-1BE3-A240-BB40-CA022862C90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2898" y="2933159"/>
            <a:ext cx="3178637" cy="252701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37FC805-97C3-A949-96D4-4743D8FEC66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34334" y="3429000"/>
            <a:ext cx="2671527" cy="2660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22468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uiExpand="1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iny App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AGDD-path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B35711C-1CC3-284F-B0C3-98ADBB0A2F6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47872" y="1436994"/>
            <a:ext cx="6448255" cy="4696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60198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Theme">
  <a:themeElements>
    <a:clrScheme name="Custom 1">
      <a:dk1>
        <a:srgbClr val="424242"/>
      </a:dk1>
      <a:lt1>
        <a:sysClr val="window" lastClr="FFFFFF"/>
      </a:lt1>
      <a:dk2>
        <a:srgbClr val="004280"/>
      </a:dk2>
      <a:lt2>
        <a:srgbClr val="D2D2D2"/>
      </a:lt2>
      <a:accent1>
        <a:srgbClr val="0076BE"/>
      </a:accent1>
      <a:accent2>
        <a:srgbClr val="DF6420"/>
      </a:accent2>
      <a:accent3>
        <a:srgbClr val="73B564"/>
      </a:accent3>
      <a:accent4>
        <a:srgbClr val="FAA41A"/>
      </a:accent4>
      <a:accent5>
        <a:srgbClr val="83389B"/>
      </a:accent5>
      <a:accent6>
        <a:srgbClr val="424242"/>
      </a:accent6>
      <a:hlink>
        <a:srgbClr val="004280"/>
      </a:hlink>
      <a:folHlink>
        <a:srgbClr val="005EB4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 rotWithShape="0">
          <a:gsLst>
            <a:gs pos="0">
              <a:srgbClr val="EAEAEA"/>
            </a:gs>
            <a:gs pos="100000">
              <a:schemeClr val="bg2"/>
            </a:gs>
          </a:gsLst>
          <a:lin ang="5400000" scaled="1"/>
        </a:gra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>
        <a:ln w="2857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Custom 1">
      <a:dk1>
        <a:srgbClr val="424242"/>
      </a:dk1>
      <a:lt1>
        <a:sysClr val="window" lastClr="FFFFFF"/>
      </a:lt1>
      <a:dk2>
        <a:srgbClr val="004280"/>
      </a:dk2>
      <a:lt2>
        <a:srgbClr val="D2D2D2"/>
      </a:lt2>
      <a:accent1>
        <a:srgbClr val="0076BE"/>
      </a:accent1>
      <a:accent2>
        <a:srgbClr val="DF6420"/>
      </a:accent2>
      <a:accent3>
        <a:srgbClr val="73B564"/>
      </a:accent3>
      <a:accent4>
        <a:srgbClr val="FAA41A"/>
      </a:accent4>
      <a:accent5>
        <a:srgbClr val="83389B"/>
      </a:accent5>
      <a:accent6>
        <a:srgbClr val="424242"/>
      </a:accent6>
      <a:hlink>
        <a:srgbClr val="004280"/>
      </a:hlink>
      <a:folHlink>
        <a:srgbClr val="005EB4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Custom 1">
      <a:dk1>
        <a:srgbClr val="424242"/>
      </a:dk1>
      <a:lt1>
        <a:sysClr val="window" lastClr="FFFFFF"/>
      </a:lt1>
      <a:dk2>
        <a:srgbClr val="004280"/>
      </a:dk2>
      <a:lt2>
        <a:srgbClr val="D2D2D2"/>
      </a:lt2>
      <a:accent1>
        <a:srgbClr val="0076BE"/>
      </a:accent1>
      <a:accent2>
        <a:srgbClr val="DF6420"/>
      </a:accent2>
      <a:accent3>
        <a:srgbClr val="73B564"/>
      </a:accent3>
      <a:accent4>
        <a:srgbClr val="FAA41A"/>
      </a:accent4>
      <a:accent5>
        <a:srgbClr val="83389B"/>
      </a:accent5>
      <a:accent6>
        <a:srgbClr val="424242"/>
      </a:accent6>
      <a:hlink>
        <a:srgbClr val="004280"/>
      </a:hlink>
      <a:folHlink>
        <a:srgbClr val="005EB4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441</TotalTime>
  <Words>279</Words>
  <Application>Microsoft Macintosh PowerPoint</Application>
  <PresentationFormat>On-screen Show (4:3)</PresentationFormat>
  <Paragraphs>109</Paragraphs>
  <Slides>25</Slides>
  <Notes>2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1" baseType="lpstr">
      <vt:lpstr>Arial</vt:lpstr>
      <vt:lpstr>Calibri</vt:lpstr>
      <vt:lpstr>Cambria Math</vt:lpstr>
      <vt:lpstr>Wingdings</vt:lpstr>
      <vt:lpstr>Default Theme</vt:lpstr>
      <vt:lpstr>think-cell Slide</vt:lpstr>
      <vt:lpstr>Mapping Accumulated Heat and Plant Phenology Data</vt:lpstr>
      <vt:lpstr>Overview</vt:lpstr>
      <vt:lpstr>Tutorials and New Programs</vt:lpstr>
      <vt:lpstr>Project Ideas</vt:lpstr>
      <vt:lpstr>Definitions</vt:lpstr>
      <vt:lpstr>Definitions</vt:lpstr>
      <vt:lpstr>Getting to Know Plant Phenology and AGDDs</vt:lpstr>
      <vt:lpstr>Playing with Data and Doing Research</vt:lpstr>
      <vt:lpstr>Shiny Apps</vt:lpstr>
      <vt:lpstr>Shiny Apps</vt:lpstr>
      <vt:lpstr>Shiny Apps</vt:lpstr>
      <vt:lpstr>Shiny Apps</vt:lpstr>
      <vt:lpstr>Shiny Apps</vt:lpstr>
      <vt:lpstr>Shiny Apps</vt:lpstr>
      <vt:lpstr>Data Story Drafts</vt:lpstr>
      <vt:lpstr>Final Product…so far</vt:lpstr>
      <vt:lpstr>Final Product…so far</vt:lpstr>
      <vt:lpstr>Final Product…so far</vt:lpstr>
      <vt:lpstr>Final Product…so far</vt:lpstr>
      <vt:lpstr>Final Product…so far</vt:lpstr>
      <vt:lpstr>Final Product…so far</vt:lpstr>
      <vt:lpstr>Final Product…so far</vt:lpstr>
      <vt:lpstr>About Me!</vt:lpstr>
      <vt:lpstr>About Me!</vt:lpstr>
      <vt:lpstr>PowerPoint Presentation</vt:lpstr>
    </vt:vector>
  </TitlesOfParts>
  <Company>Battell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Title of Presentation</dc:title>
  <dc:creator>www.wizkit.com</dc:creator>
  <cp:lastModifiedBy>Karlee Bradley</cp:lastModifiedBy>
  <cp:revision>178</cp:revision>
  <dcterms:created xsi:type="dcterms:W3CDTF">2014-03-04T19:43:17Z</dcterms:created>
  <dcterms:modified xsi:type="dcterms:W3CDTF">2019-07-31T17:07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izKit Template Type">
    <vt:lpwstr>Onscreen</vt:lpwstr>
  </property>
  <property fmtid="{D5CDD505-2E9C-101B-9397-08002B2CF9AE}" pid="3" name="WizKit Template Version">
    <vt:i4>5</vt:i4>
  </property>
</Properties>
</file>